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733" r:id="rId1"/>
  </p:sldMasterIdLst>
  <p:notesMasterIdLst>
    <p:notesMasterId r:id="rId26"/>
  </p:notesMasterIdLst>
  <p:sldIdLst>
    <p:sldId id="256" r:id="rId2"/>
    <p:sldId id="285" r:id="rId3"/>
    <p:sldId id="264" r:id="rId4"/>
    <p:sldId id="257" r:id="rId5"/>
    <p:sldId id="265" r:id="rId6"/>
    <p:sldId id="275" r:id="rId7"/>
    <p:sldId id="274" r:id="rId8"/>
    <p:sldId id="266" r:id="rId9"/>
    <p:sldId id="267" r:id="rId10"/>
    <p:sldId id="277" r:id="rId11"/>
    <p:sldId id="258" r:id="rId12"/>
    <p:sldId id="284" r:id="rId13"/>
    <p:sldId id="259" r:id="rId14"/>
    <p:sldId id="290" r:id="rId15"/>
    <p:sldId id="262" r:id="rId16"/>
    <p:sldId id="291" r:id="rId17"/>
    <p:sldId id="261" r:id="rId18"/>
    <p:sldId id="276" r:id="rId19"/>
    <p:sldId id="292" r:id="rId20"/>
    <p:sldId id="263" r:id="rId21"/>
    <p:sldId id="281" r:id="rId22"/>
    <p:sldId id="288" r:id="rId23"/>
    <p:sldId id="280" r:id="rId24"/>
    <p:sldId id="283" r:id="rId25"/>
  </p:sldIdLst>
  <p:sldSz cx="8961438" cy="6721475"/>
  <p:notesSz cx="6808788" cy="9940925"/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orient="horz" pos="475">
          <p15:clr>
            <a:srgbClr val="A4A3A4"/>
          </p15:clr>
        </p15:guide>
        <p15:guide id="3" orient="horz" pos="421">
          <p15:clr>
            <a:srgbClr val="A4A3A4"/>
          </p15:clr>
        </p15:guide>
        <p15:guide id="4" orient="horz" pos="3742">
          <p15:clr>
            <a:srgbClr val="A4A3A4"/>
          </p15:clr>
        </p15:guide>
        <p15:guide id="5" pos="185">
          <p15:clr>
            <a:srgbClr val="A4A3A4"/>
          </p15:clr>
        </p15:guide>
        <p15:guide id="6" pos="5461">
          <p15:clr>
            <a:srgbClr val="A4A3A4"/>
          </p15:clr>
        </p15:guide>
        <p15:guide id="7" pos="3907">
          <p15:clr>
            <a:srgbClr val="A4A3A4"/>
          </p15:clr>
        </p15:guide>
        <p15:guide id="8" orient="horz" pos="3635">
          <p15:clr>
            <a:srgbClr val="A4A3A4"/>
          </p15:clr>
        </p15:guide>
        <p15:guide id="9" orient="horz" pos="698">
          <p15:clr>
            <a:srgbClr val="A4A3A4"/>
          </p15:clr>
        </p15:guide>
        <p15:guide id="10" orient="horz" pos="4089">
          <p15:clr>
            <a:srgbClr val="A4A3A4"/>
          </p15:clr>
        </p15:guide>
        <p15:guide id="11" orient="horz" pos="671">
          <p15:clr>
            <a:srgbClr val="A4A3A4"/>
          </p15:clr>
        </p15:guide>
        <p15:guide id="12" orient="horz" pos="3803">
          <p15:clr>
            <a:srgbClr val="A4A3A4"/>
          </p15:clr>
        </p15:guide>
        <p15:guide id="13" pos="38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40" autoAdjust="0"/>
    <p:restoredTop sz="95232" autoAdjust="0"/>
  </p:normalViewPr>
  <p:slideViewPr>
    <p:cSldViewPr snapToGrid="0">
      <p:cViewPr varScale="1">
        <p:scale>
          <a:sx n="65" d="100"/>
          <a:sy n="65" d="100"/>
        </p:scale>
        <p:origin x="1196" y="48"/>
      </p:cViewPr>
      <p:guideLst>
        <p:guide orient="horz" pos="618"/>
        <p:guide orient="horz" pos="475"/>
        <p:guide orient="horz" pos="421"/>
        <p:guide orient="horz" pos="3742"/>
        <p:guide pos="185"/>
        <p:guide pos="5461"/>
        <p:guide pos="3907"/>
        <p:guide orient="horz" pos="3635"/>
        <p:guide orient="horz" pos="698"/>
        <p:guide orient="horz" pos="4089"/>
        <p:guide orient="horz" pos="671"/>
        <p:guide orient="horz" pos="3803"/>
        <p:guide pos="38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9A0055-30BE-44E1-8033-32776DAB1F63}" type="datetimeFigureOut">
              <a:rPr lang="sv-SE" smtClean="0"/>
              <a:t>2016-08-17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198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84725"/>
            <a:ext cx="5446712" cy="39131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45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3EF66E-19A1-4AC8-A000-D07CFC09E81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20247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3EF66E-19A1-4AC8-A000-D07CFC09E812}" type="slidenum">
              <a:rPr lang="sv-SE" smtClean="0"/>
              <a:t>0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266048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3EF66E-19A1-4AC8-A000-D07CFC09E812}" type="slidenum">
              <a:rPr lang="sv-SE" smtClean="0"/>
              <a:t>2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88845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3EF66E-19A1-4AC8-A000-D07CFC09E812}" type="slidenum">
              <a:rPr lang="sv-SE" smtClean="0"/>
              <a:t>3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78657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Viktigt</a:t>
            </a:r>
            <a:r>
              <a:rPr lang="sv-SE" baseline="0" dirty="0" smtClean="0"/>
              <a:t> att informera om lokala tolkningar vad som inkluderas i stöd som erbjuds avseende bl.a. transport och hjälpmedel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3EF66E-19A1-4AC8-A000-D07CFC09E812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649999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599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4527512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sv-SE" dirty="0" smtClean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4809514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 smtClean="0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3622290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rgbClr val="E6460A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330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7388"/>
            <a:ext cx="8374608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3477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7453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293361" y="783241"/>
            <a:ext cx="8375977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940691"/>
            <a:ext cx="8375650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 smtClean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00" dirty="0" err="1" smtClean="0">
                <a:ea typeface="Verdana" pitchFamily="34" charset="0"/>
                <a:cs typeface="Verdana" pitchFamily="34" charset="0"/>
              </a:rPr>
              <a:t>xxxxxx</a:t>
            </a:r>
            <a:endParaRPr lang="sv-SE" sz="1000" dirty="0" smtClean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 smtClean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 smtClean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00" dirty="0" err="1" smtClean="0">
                <a:ea typeface="Verdana" pitchFamily="34" charset="0"/>
                <a:cs typeface="Verdana" pitchFamily="34" charset="0"/>
              </a:rPr>
              <a:t>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085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3688" y="416847"/>
            <a:ext cx="5764876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47539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4355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172200" y="0"/>
            <a:ext cx="2789237" cy="588873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293361" y="783301"/>
            <a:ext cx="5764539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940691"/>
            <a:ext cx="5781797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 smtClean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00" dirty="0" err="1" smtClean="0">
                <a:ea typeface="Verdana" pitchFamily="34" charset="0"/>
                <a:cs typeface="Verdana" pitchFamily="34" charset="0"/>
              </a:rPr>
              <a:t>xxxxxx</a:t>
            </a:r>
            <a:endParaRPr lang="sv-SE" sz="1000" dirty="0" smtClean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 smtClean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 smtClean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00" dirty="0" err="1" smtClean="0">
                <a:ea typeface="Verdana" pitchFamily="34" charset="0"/>
                <a:cs typeface="Verdana" pitchFamily="34" charset="0"/>
              </a:rPr>
              <a:t>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455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6847"/>
            <a:ext cx="5907633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1654299"/>
          </a:xfrm>
        </p:spPr>
        <p:txBody>
          <a:bodyPr>
            <a:spAutoFit/>
          </a:bodyPr>
          <a:lstStyle>
            <a:lvl1pPr>
              <a:spcBef>
                <a:spcPts val="1800"/>
              </a:spcBef>
              <a:spcAft>
                <a:spcPts val="0"/>
              </a:spcAft>
              <a:defRPr sz="2000"/>
            </a:lvl1pPr>
            <a:lvl2pPr>
              <a:spcBef>
                <a:spcPts val="600"/>
              </a:spcBef>
              <a:spcAft>
                <a:spcPts val="0"/>
              </a:spcAft>
              <a:defRPr sz="2000"/>
            </a:lvl2pPr>
            <a:lvl3pPr>
              <a:defRPr sz="2000"/>
            </a:lvl3pPr>
            <a:lvl4pPr>
              <a:spcAft>
                <a:spcPts val="0"/>
              </a:spcAft>
              <a:defRPr sz="2000"/>
            </a:lvl4pPr>
            <a:lvl5pPr>
              <a:spcAft>
                <a:spcPts val="0"/>
              </a:spcAft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5804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50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064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011020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287412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 smtClean="0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207105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262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79853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94730" y="426063"/>
            <a:ext cx="590286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ts val="2400"/>
              </a:lnSpc>
            </a:pPr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351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4730" y="1098550"/>
            <a:ext cx="8374608" cy="167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35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842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defRPr lang="en-US" sz="2200" b="1" dirty="0" smtClean="0">
          <a:solidFill>
            <a:srgbClr val="E6460A"/>
          </a:solidFill>
          <a:latin typeface="Georgia" pitchFamily="18" charset="0"/>
          <a:ea typeface="+mj-ea"/>
          <a:cs typeface="Georgia" pitchFamily="18" charset="0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ts val="300"/>
        </a:spcAft>
        <a:buClr>
          <a:schemeClr val="tx2"/>
        </a:buClr>
        <a:defRPr sz="1600">
          <a:solidFill>
            <a:schemeClr val="tx1"/>
          </a:solidFill>
          <a:latin typeface="Franklin Gothic Book" panose="020B0503020102020204" pitchFamily="34" charset="0"/>
          <a:ea typeface="+mn-ea"/>
          <a:cs typeface="Franklin Gothic Book" panose="020B0503020102020204" pitchFamily="34" charset="0"/>
        </a:defRPr>
      </a:lvl1pPr>
      <a:lvl2pPr marL="193655" indent="-192067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Char char="•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2pPr>
      <a:lvl3pPr marL="361950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3pPr>
      <a:lvl4pPr marL="534988" indent="-173038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pitchFamily="34" charset="0"/>
        <a:buChar char="•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4pPr>
      <a:lvl5pPr marL="715963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5pPr>
      <a:lvl6pPr marL="1203197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34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501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652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emf"/><Relationship Id="rId10" Type="http://schemas.openxmlformats.org/officeDocument/2006/relationships/image" Target="../media/image24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9.png"/><Relationship Id="rId5" Type="http://schemas.openxmlformats.org/officeDocument/2006/relationships/image" Target="../media/image27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3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7.jpeg"/><Relationship Id="rId7" Type="http://schemas.openxmlformats.org/officeDocument/2006/relationships/image" Target="../media/image40.png"/><Relationship Id="rId2" Type="http://schemas.openxmlformats.org/officeDocument/2006/relationships/hyperlink" Target="http://www.google.com/url?sa=i&amp;source=images&amp;cd=&amp;cad=rja&amp;docid=OWniMnMEPG6VMM&amp;tbnid=RFPNuKWempq37M:&amp;ved=0CAgQjRwwAA&amp;url=http://c91prao.wikispaces.com/Al-Mammar%2BNoor&amp;ei=BNpzUpTLG-K84ATyp4C4Bw&amp;psig=AFQjCNEJhZOOMky8Pid7kz9K_8xeHrRtCQ&amp;ust=1383410564480217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9.png"/><Relationship Id="rId5" Type="http://schemas.openxmlformats.org/officeDocument/2006/relationships/image" Target="../media/image38.jpeg"/><Relationship Id="rId10" Type="http://schemas.openxmlformats.org/officeDocument/2006/relationships/image" Target="../media/image7.png"/><Relationship Id="rId4" Type="http://schemas.openxmlformats.org/officeDocument/2006/relationships/hyperlink" Target="http://www.google.com/url?sa=i&amp;rct=j&amp;q=&amp;esrc=s&amp;frm=1&amp;source=images&amp;cd=&amp;cad=rja&amp;docid=hxDc95ny-m85eM&amp;tbnid=l6qg_IV8nQcuLM:&amp;ved=0CAUQjRw&amp;url=http://testbb.kf.se/Butiker/Apotek-Hjartat/&amp;ei=6dpzUo6PGpKk4ATKtYHgDA&amp;psig=AFQjCNHJh40YOnd7at9VKjibeXgWYW7Fsw&amp;ust=1383410692989794" TargetMode="External"/><Relationship Id="rId9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1689098" y="4527512"/>
            <a:ext cx="5168901" cy="215444"/>
          </a:xfrm>
        </p:spPr>
        <p:txBody>
          <a:bodyPr/>
          <a:lstStyle/>
          <a:p>
            <a:r>
              <a:rPr lang="sv-SE" dirty="0" smtClean="0">
                <a:latin typeface="Franklin Gothic Book" panose="020B0503020102020204" pitchFamily="34" charset="0"/>
              </a:rPr>
              <a:t>Introduktion till hälso- och sjukvården i Sverige</a:t>
            </a:r>
            <a:endParaRPr lang="sv-SE" dirty="0">
              <a:latin typeface="Franklin Gothic Book" panose="020B05030201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 smtClean="0"/>
              <a:t>April </a:t>
            </a:r>
            <a:r>
              <a:rPr lang="sv-SE" dirty="0" smtClean="0">
                <a:latin typeface="Franklin Gothic Book" panose="020B0503020102020204" pitchFamily="34" charset="0"/>
              </a:rPr>
              <a:t>2016</a:t>
            </a:r>
            <a:endParaRPr lang="sv-SE" dirty="0">
              <a:latin typeface="Franklin Gothic Book" panose="020B05030201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689098" y="3099071"/>
            <a:ext cx="5870467" cy="1046440"/>
          </a:xfrm>
        </p:spPr>
        <p:txBody>
          <a:bodyPr/>
          <a:lstStyle/>
          <a:p>
            <a:r>
              <a:rPr lang="sv-SE" dirty="0" smtClean="0"/>
              <a:t>Hälso- och sjukvård </a:t>
            </a:r>
            <a:br>
              <a:rPr lang="sv-SE" dirty="0" smtClean="0"/>
            </a:br>
            <a:r>
              <a:rPr lang="sv-SE" dirty="0" smtClean="0"/>
              <a:t>för nyanlända </a:t>
            </a:r>
            <a:endParaRPr lang="sv-SE" sz="2000" dirty="0"/>
          </a:p>
        </p:txBody>
      </p:sp>
      <p:pic>
        <p:nvPicPr>
          <p:cNvPr id="8" name="Picture 7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0" y="6305550"/>
            <a:ext cx="2859882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1945482" y="6305550"/>
            <a:ext cx="7029450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5018882" y="6391275"/>
            <a:ext cx="48006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sv-SE" sz="1100" dirty="0">
                <a:solidFill>
                  <a:srgbClr val="FFFFFF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Finns även tillgänglig digitalt på </a:t>
            </a:r>
            <a:r>
              <a:rPr lang="sv-SE" sz="1100" b="1" strike="noStrike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www.uppdragpsykiskhalsa.se</a:t>
            </a:r>
            <a:r>
              <a:rPr lang="sv-SE" sz="1100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8208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genda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385816"/>
          </a:xfrm>
        </p:spPr>
        <p:txBody>
          <a:bodyPr/>
          <a:lstStyle/>
          <a:p>
            <a:pPr marL="458788" lvl="1" indent="-457200">
              <a:buFont typeface="+mj-lt"/>
              <a:buAutoNum type="arabicPeriod"/>
            </a:pPr>
            <a:r>
              <a:rPr lang="sv-SE" dirty="0"/>
              <a:t>Generella principer i svensk hälso- och sjukvård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Landstingets skyldigheter att erbjuda nyanlända vård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b="1" dirty="0"/>
              <a:t>Hälsoundersökning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Egenvård och rådgivning via 1177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Svensk hälso- och sjukvård</a:t>
            </a:r>
          </a:p>
          <a:p>
            <a:pPr lvl="2"/>
            <a:r>
              <a:rPr lang="sv-SE" dirty="0"/>
              <a:t>Vårdcentraler</a:t>
            </a:r>
          </a:p>
          <a:p>
            <a:pPr lvl="2"/>
            <a:r>
              <a:rPr lang="sv-SE" dirty="0"/>
              <a:t>Sjukhus</a:t>
            </a:r>
          </a:p>
          <a:p>
            <a:pPr lvl="2"/>
            <a:r>
              <a:rPr lang="sv-SE" dirty="0"/>
              <a:t>Övriga tjänster (t.ex. tandvård)</a:t>
            </a:r>
          </a:p>
        </p:txBody>
      </p:sp>
    </p:spTree>
    <p:extLst>
      <p:ext uri="{BB962C8B-B14F-4D97-AF65-F5344CB8AC3E}">
        <p14:creationId xmlns:p14="http://schemas.microsoft.com/office/powerpoint/2010/main" val="1981702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831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4" name="think-cell Slide" r:id="rId4" imgW="282" imgH="282" progId="TCLayout.ActiveDocument.1">
                  <p:embed/>
                </p:oleObj>
              </mc:Choice>
              <mc:Fallback>
                <p:oleObj name="think-cell Slid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/>
          <a:lstStyle/>
          <a:p>
            <a:r>
              <a:rPr lang="sv-SE" dirty="0" smtClean="0"/>
              <a:t>Hälsoundersökningen är vägen in i den svenska hälso- och sjukvården</a:t>
            </a:r>
            <a:endParaRPr lang="sv-SE" dirty="0"/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älsoundersökning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3491437" y="1029315"/>
            <a:ext cx="1918638" cy="4213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komst till Sverige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 för egenvårdsråd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årdcentral (primärvår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jukhus (slutenvår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Isosceles Triangle 41"/>
          <p:cNvSpPr/>
          <p:nvPr/>
        </p:nvSpPr>
        <p:spPr>
          <a:xfrm rot="5400000">
            <a:off x="711238" y="186771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1" y="186771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66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3847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8" name="think-cell Slide" r:id="rId4" imgW="282" imgH="282" progId="TCLayout.ActiveDocument.1">
                  <p:embed/>
                </p:oleObj>
              </mc:Choice>
              <mc:Fallback>
                <p:oleObj name="think-cell Slid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ounded Rectangle 27"/>
          <p:cNvSpPr/>
          <p:nvPr/>
        </p:nvSpPr>
        <p:spPr>
          <a:xfrm>
            <a:off x="3135781" y="1503384"/>
            <a:ext cx="2700553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115991" y="1503384"/>
            <a:ext cx="2531959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02308" y="3818735"/>
            <a:ext cx="1278982" cy="49848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d och plats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Isosceles Triangle 28"/>
          <p:cNvSpPr/>
          <p:nvPr/>
        </p:nvSpPr>
        <p:spPr>
          <a:xfrm rot="5400000">
            <a:off x="1255718" y="3466670"/>
            <a:ext cx="3256209" cy="264429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74608" cy="615553"/>
          </a:xfrm>
        </p:spPr>
        <p:txBody>
          <a:bodyPr/>
          <a:lstStyle/>
          <a:p>
            <a:r>
              <a:rPr lang="en-GB" dirty="0" err="1" smtClean="0"/>
              <a:t>Kallelse</a:t>
            </a:r>
            <a:r>
              <a:rPr lang="en-GB" dirty="0" smtClean="0"/>
              <a:t> </a:t>
            </a:r>
            <a:r>
              <a:rPr lang="en-GB" dirty="0" err="1" smtClean="0"/>
              <a:t>skickas</a:t>
            </a:r>
            <a:r>
              <a:rPr lang="en-GB" dirty="0" smtClean="0"/>
              <a:t> </a:t>
            </a:r>
            <a:r>
              <a:rPr lang="en-GB" dirty="0" err="1" smtClean="0"/>
              <a:t>ut</a:t>
            </a:r>
            <a:r>
              <a:rPr lang="en-GB" dirty="0" smtClean="0"/>
              <a:t> med </a:t>
            </a:r>
            <a:r>
              <a:rPr lang="en-GB" dirty="0" err="1" smtClean="0"/>
              <a:t>brev</a:t>
            </a:r>
            <a:r>
              <a:rPr lang="en-GB" dirty="0" smtClean="0"/>
              <a:t> </a:t>
            </a:r>
            <a:r>
              <a:rPr lang="en-GB" dirty="0" err="1" smtClean="0"/>
              <a:t>när</a:t>
            </a:r>
            <a:r>
              <a:rPr lang="en-GB" dirty="0" smtClean="0"/>
              <a:t> </a:t>
            </a:r>
            <a:r>
              <a:rPr lang="en-GB" dirty="0" err="1" smtClean="0"/>
              <a:t>det</a:t>
            </a:r>
            <a:r>
              <a:rPr lang="en-GB" dirty="0" smtClean="0"/>
              <a:t> </a:t>
            </a:r>
            <a:r>
              <a:rPr lang="en-GB" dirty="0" err="1" smtClean="0"/>
              <a:t>är</a:t>
            </a:r>
            <a:r>
              <a:rPr lang="en-GB" dirty="0" smtClean="0"/>
              <a:t> </a:t>
            </a:r>
            <a:r>
              <a:rPr lang="en-GB" dirty="0" err="1" smtClean="0"/>
              <a:t>tid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hälsoundersökning</a:t>
            </a:r>
            <a:r>
              <a:rPr lang="en-GB" dirty="0" smtClean="0"/>
              <a:t> – </a:t>
            </a:r>
            <a:r>
              <a:rPr lang="en-GB" dirty="0" err="1" smtClean="0"/>
              <a:t>viktigt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komma</a:t>
            </a:r>
            <a:r>
              <a:rPr lang="en-GB" dirty="0" smtClean="0"/>
              <a:t> i </a:t>
            </a:r>
            <a:r>
              <a:rPr lang="en-GB" dirty="0" err="1" smtClean="0"/>
              <a:t>tid</a:t>
            </a:r>
            <a:endParaRPr lang="en-GB" dirty="0"/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09420" y="4583941"/>
            <a:ext cx="1041252" cy="25899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 med LMA-kort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 Placeholder 2"/>
          <p:cNvSpPr txBox="1">
            <a:spLocks/>
          </p:cNvSpPr>
          <p:nvPr/>
        </p:nvSpPr>
        <p:spPr>
          <a:xfrm>
            <a:off x="115991" y="972360"/>
            <a:ext cx="2369820" cy="25620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g 1 – Motta brev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3135783" y="972360"/>
            <a:ext cx="2700552" cy="25620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g 2 - Hälsoundersökning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ext Placeholder 2"/>
          <p:cNvSpPr txBox="1">
            <a:spLocks/>
          </p:cNvSpPr>
          <p:nvPr/>
        </p:nvSpPr>
        <p:spPr>
          <a:xfrm>
            <a:off x="4425609" y="2079145"/>
            <a:ext cx="1270341" cy="54975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tagning och fysisk undersökning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 Placeholder 2"/>
          <p:cNvSpPr txBox="1">
            <a:spLocks/>
          </p:cNvSpPr>
          <p:nvPr/>
        </p:nvSpPr>
        <p:spPr>
          <a:xfrm>
            <a:off x="4425609" y="3437822"/>
            <a:ext cx="1270341" cy="54975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älsossamtal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ed sjuksköterska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 Placeholder 2"/>
          <p:cNvSpPr txBox="1">
            <a:spLocks/>
          </p:cNvSpPr>
          <p:nvPr/>
        </p:nvSpPr>
        <p:spPr>
          <a:xfrm>
            <a:off x="4425609" y="4708683"/>
            <a:ext cx="1633406" cy="54975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ostnadsfritt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324165" y="1503384"/>
            <a:ext cx="2531959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38" name="Isosceles Triangle 37"/>
          <p:cNvSpPr/>
          <p:nvPr/>
        </p:nvSpPr>
        <p:spPr>
          <a:xfrm rot="5400000">
            <a:off x="4455452" y="3466670"/>
            <a:ext cx="3256209" cy="264429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42" name="Text Placeholder 2"/>
          <p:cNvSpPr txBox="1">
            <a:spLocks/>
          </p:cNvSpPr>
          <p:nvPr/>
        </p:nvSpPr>
        <p:spPr>
          <a:xfrm>
            <a:off x="6228915" y="963766"/>
            <a:ext cx="2637273" cy="26480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g 3 – Fortsatt kontakt endast vid behov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Text Placeholder 2"/>
          <p:cNvSpPr txBox="1">
            <a:spLocks/>
          </p:cNvSpPr>
          <p:nvPr/>
        </p:nvSpPr>
        <p:spPr>
          <a:xfrm>
            <a:off x="7546104" y="1837787"/>
            <a:ext cx="1309688" cy="54975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miss till läkare – vid behov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Text Placeholder 2"/>
          <p:cNvSpPr txBox="1">
            <a:spLocks/>
          </p:cNvSpPr>
          <p:nvPr/>
        </p:nvSpPr>
        <p:spPr>
          <a:xfrm>
            <a:off x="7549765" y="2893289"/>
            <a:ext cx="1414753" cy="54975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gen information skickas till Migrations-verket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Text Placeholder 2"/>
          <p:cNvSpPr txBox="1">
            <a:spLocks/>
          </p:cNvSpPr>
          <p:nvPr/>
        </p:nvSpPr>
        <p:spPr>
          <a:xfrm>
            <a:off x="7546104" y="4344463"/>
            <a:ext cx="1216896" cy="84703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tterligare vård ges vid behov efter uppehålls-tillstånd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000" y="1732228"/>
            <a:ext cx="1821709" cy="148944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01033" y="3692823"/>
            <a:ext cx="685029" cy="68092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01095" y="4560558"/>
            <a:ext cx="884716" cy="5810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25377" y="2080703"/>
            <a:ext cx="1124774" cy="5940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09648" y="3391715"/>
            <a:ext cx="1140503" cy="72308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51757" y="4504033"/>
            <a:ext cx="782378" cy="75723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536564" y="3159839"/>
            <a:ext cx="828888" cy="673907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4307" y="1833036"/>
            <a:ext cx="973403" cy="795864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3">
            <a:clrChange>
              <a:clrFrom>
                <a:srgbClr val="C7E2EE"/>
              </a:clrFrom>
              <a:clrTo>
                <a:srgbClr val="C7E2E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47999" y="4373750"/>
            <a:ext cx="806018" cy="73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1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446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532562" y="1095703"/>
            <a:ext cx="7827667" cy="49433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74608" cy="615553"/>
          </a:xfrm>
        </p:spPr>
        <p:txBody>
          <a:bodyPr/>
          <a:lstStyle/>
          <a:p>
            <a:r>
              <a:rPr lang="sv-SE" dirty="0" smtClean="0"/>
              <a:t>Hälsoundersökningen är </a:t>
            </a:r>
            <a:r>
              <a:rPr lang="sv-SE" dirty="0" err="1" smtClean="0"/>
              <a:t>gratid</a:t>
            </a:r>
            <a:r>
              <a:rPr lang="sv-SE" dirty="0" smtClean="0"/>
              <a:t> och påverkar inte ditt asylärende – endast till för en bättre hälsa</a:t>
            </a:r>
            <a:endParaRPr lang="sv-SE" dirty="0"/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1719393" y="1379818"/>
            <a:ext cx="664083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sv-SE" sz="1600" kern="0" dirty="0" smtClean="0">
                <a:latin typeface="Franklin Gothic Book" panose="020B0503020102020204" pitchFamily="34" charset="0"/>
              </a:rPr>
              <a:t>Hälsoundersökningen är gratis</a:t>
            </a:r>
          </a:p>
          <a:p>
            <a:pPr lvl="1">
              <a:spcBef>
                <a:spcPts val="0"/>
              </a:spcBef>
            </a:pPr>
            <a:r>
              <a:rPr lang="sv-SE" sz="1600" kern="0" dirty="0" smtClean="0">
                <a:latin typeface="Franklin Gothic Book" panose="020B0503020102020204" pitchFamily="34" charset="0"/>
              </a:rPr>
              <a:t>Du kommer motta en kallelse via post när det är din tur </a:t>
            </a:r>
            <a:br>
              <a:rPr lang="sv-SE" sz="1600" kern="0" dirty="0" smtClean="0">
                <a:latin typeface="Franklin Gothic Book" panose="020B0503020102020204" pitchFamily="34" charset="0"/>
              </a:rPr>
            </a:br>
            <a:r>
              <a:rPr lang="sv-SE" sz="1600" kern="0" dirty="0" smtClean="0">
                <a:latin typeface="Franklin Gothic Book" panose="020B0503020102020204" pitchFamily="34" charset="0"/>
              </a:rPr>
              <a:t>(barn och familjer är prioriterade)</a:t>
            </a:r>
          </a:p>
          <a:p>
            <a:pPr lvl="1">
              <a:spcBef>
                <a:spcPts val="0"/>
              </a:spcBef>
            </a:pPr>
            <a:r>
              <a:rPr lang="sv-SE" sz="1600" kern="0" dirty="0" smtClean="0">
                <a:latin typeface="Franklin Gothic Book" panose="020B0503020102020204" pitchFamily="34" charset="0"/>
              </a:rPr>
              <a:t>Viktigt att komma i tid – annars ingen tolk/inget besök</a:t>
            </a:r>
          </a:p>
          <a:p>
            <a:pPr lvl="1">
              <a:spcBef>
                <a:spcPts val="0"/>
              </a:spcBef>
            </a:pPr>
            <a:r>
              <a:rPr lang="sv-SE" sz="1600" kern="0" dirty="0" smtClean="0">
                <a:latin typeface="Franklin Gothic Book" panose="020B0503020102020204" pitchFamily="34" charset="0"/>
              </a:rPr>
              <a:t>Om du blir sjuk idag, kontakta närmsta vårdcentral</a:t>
            </a:r>
            <a:endParaRPr lang="sv-SE" sz="1600" kern="0" dirty="0">
              <a:latin typeface="Franklin Gothic Book" panose="020B0503020102020204" pitchFamily="34" charset="0"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 bwMode="auto">
          <a:xfrm>
            <a:off x="1719394" y="2895039"/>
            <a:ext cx="6179792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sv-SE" sz="1600" kern="0" dirty="0" smtClean="0">
                <a:latin typeface="Franklin Gothic Book" panose="020B0503020102020204" pitchFamily="34" charset="0"/>
              </a:rPr>
              <a:t>Hälsoundersökningen genomförs av sjuksköterskor och omfattar ett hälsosamtal om din medicinska historia och dina behov</a:t>
            </a:r>
          </a:p>
          <a:p>
            <a:pPr lvl="1">
              <a:spcBef>
                <a:spcPts val="0"/>
              </a:spcBef>
            </a:pPr>
            <a:r>
              <a:rPr lang="sv-SE" sz="1600" kern="0" dirty="0" smtClean="0">
                <a:latin typeface="Franklin Gothic Book" panose="020B0503020102020204" pitchFamily="34" charset="0"/>
              </a:rPr>
              <a:t>Provtagning genomförs för att kolla efter smittsamma sjukdomar</a:t>
            </a:r>
          </a:p>
          <a:p>
            <a:pPr lvl="1">
              <a:spcBef>
                <a:spcPts val="0"/>
              </a:spcBef>
            </a:pPr>
            <a:r>
              <a:rPr lang="sv-SE" sz="1600" kern="0" dirty="0" smtClean="0">
                <a:latin typeface="Franklin Gothic Book" panose="020B0503020102020204" pitchFamily="34" charset="0"/>
              </a:rPr>
              <a:t>Remiss till läkare för vidare undersökning görs vid behov</a:t>
            </a:r>
            <a:endParaRPr lang="sv-SE" sz="1600" kern="0" dirty="0">
              <a:latin typeface="Franklin Gothic Book" panose="020B0503020102020204" pitchFamily="34" charset="0"/>
            </a:endParaRPr>
          </a:p>
        </p:txBody>
      </p:sp>
      <p:sp>
        <p:nvSpPr>
          <p:cNvPr id="19" name="Text Placeholder 2"/>
          <p:cNvSpPr txBox="1">
            <a:spLocks/>
          </p:cNvSpPr>
          <p:nvPr/>
        </p:nvSpPr>
        <p:spPr bwMode="auto">
          <a:xfrm>
            <a:off x="1719394" y="4249422"/>
            <a:ext cx="617979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sv-SE" sz="1600" kern="0" dirty="0" smtClean="0">
                <a:latin typeface="Franklin Gothic Book" panose="020B0503020102020204" pitchFamily="34" charset="0"/>
              </a:rPr>
              <a:t>Du har rätt till tolk om du inte förstår svenska – tolkar har också tystnadsplikt</a:t>
            </a:r>
            <a:endParaRPr lang="sv-SE" sz="1600" kern="0" dirty="0">
              <a:latin typeface="Franklin Gothic Book" panose="020B0503020102020204" pitchFamily="34" charset="0"/>
            </a:endParaRPr>
          </a:p>
        </p:txBody>
      </p:sp>
      <p:sp>
        <p:nvSpPr>
          <p:cNvPr id="20" name="Text Placeholder 2"/>
          <p:cNvSpPr txBox="1">
            <a:spLocks/>
          </p:cNvSpPr>
          <p:nvPr/>
        </p:nvSpPr>
        <p:spPr bwMode="auto">
          <a:xfrm>
            <a:off x="1719394" y="5153404"/>
            <a:ext cx="617979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sv-SE" sz="1600" dirty="0" smtClean="0">
                <a:latin typeface="Franklin Gothic Book" panose="020B0503020102020204" pitchFamily="34" charset="0"/>
              </a:rPr>
              <a:t>Migrationsverket kommer inte få ta del av resultaten från hälsoundersökningen. Hälsoundersökningen påverkar inte ditt asylärende eller möjligheterna att få stanna i Sverige.</a:t>
            </a:r>
            <a:endParaRPr lang="sv-SE" sz="1600" dirty="0">
              <a:latin typeface="Franklin Gothic Book" panose="020B0503020102020204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8897" y="1655733"/>
            <a:ext cx="830856" cy="679317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4620" y="3046478"/>
            <a:ext cx="1124774" cy="59407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86755" y="4134100"/>
            <a:ext cx="1140503" cy="72308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2562" y="5153404"/>
            <a:ext cx="828888" cy="673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886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Slide" r:id="rId4" imgW="282" imgH="282" progId="TCLayout.ActiveDocument.1">
                  <p:embed/>
                </p:oleObj>
              </mc:Choice>
              <mc:Fallback>
                <p:oleObj name="think-cell Slid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/>
          <a:lstStyle/>
          <a:p>
            <a:r>
              <a:rPr lang="sv-SE" dirty="0" smtClean="0"/>
              <a:t>Kontakta gärna 1177 för egenvårdsråd eller råd om hur du ska söka hjälp</a:t>
            </a:r>
            <a:endParaRPr lang="sv-SE" dirty="0"/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älsoundersökning</a:t>
            </a:r>
            <a:endParaRPr lang="sv-SE" sz="1800" b="1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3491437" y="1029315"/>
            <a:ext cx="1918638" cy="4213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komst till Sverige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 för egenvårdsråd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årdcentral (primärvår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jukhus (slutenvår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Isosceles Triangle 19"/>
          <p:cNvSpPr/>
          <p:nvPr/>
        </p:nvSpPr>
        <p:spPr>
          <a:xfrm rot="5400000">
            <a:off x="711239" y="2926105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Isosceles Triangle 20"/>
          <p:cNvSpPr/>
          <p:nvPr/>
        </p:nvSpPr>
        <p:spPr>
          <a:xfrm rot="16200000">
            <a:off x="7230502" y="2926105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493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/>
          <a:lstStyle/>
          <a:p>
            <a:r>
              <a:rPr lang="sv-SE" dirty="0" smtClean="0"/>
              <a:t>Egenvårdsråd och vårdinformation finns tillgängligt 24/7 genom 1177 på nätet eller via telefon</a:t>
            </a:r>
            <a:endParaRPr lang="sv-S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276999"/>
          </a:xfrm>
        </p:spPr>
        <p:txBody>
          <a:bodyPr/>
          <a:lstStyle/>
          <a:p>
            <a:r>
              <a:rPr lang="sv-SE" dirty="0" smtClean="0"/>
              <a:t>Information om 1177</a:t>
            </a:r>
            <a:endParaRPr lang="sv-S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86" t="8276" r="58712" b="12337"/>
          <a:stretch/>
        </p:blipFill>
        <p:spPr bwMode="auto">
          <a:xfrm>
            <a:off x="5012318" y="1593930"/>
            <a:ext cx="3773832" cy="3026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ubrik 1"/>
          <p:cNvSpPr txBox="1">
            <a:spLocks/>
          </p:cNvSpPr>
          <p:nvPr/>
        </p:nvSpPr>
        <p:spPr>
          <a:xfrm>
            <a:off x="4253394" y="2508231"/>
            <a:ext cx="5122106" cy="14562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 smtClean="0">
                <a:latin typeface="Myriad Pro" pitchFamily="34" charset="0"/>
              </a:rPr>
              <a:t>www.1177.se</a:t>
            </a:r>
            <a:endParaRPr lang="en-US" sz="5400" dirty="0">
              <a:latin typeface="Myriad Pro" pitchFamily="34" charset="0"/>
            </a:endParaRPr>
          </a:p>
        </p:txBody>
      </p:sp>
      <p:sp>
        <p:nvSpPr>
          <p:cNvPr id="12" name="Text Placeholder 2"/>
          <p:cNvSpPr txBox="1">
            <a:spLocks/>
          </p:cNvSpPr>
          <p:nvPr/>
        </p:nvSpPr>
        <p:spPr bwMode="auto">
          <a:xfrm>
            <a:off x="234175" y="1688812"/>
            <a:ext cx="4398681" cy="2769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sv-SE" sz="1600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via telefon</a:t>
            </a:r>
          </a:p>
          <a:p>
            <a:pPr lvl="2"/>
            <a:r>
              <a:rPr lang="sv-SE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llgänglig dygnet-runt</a:t>
            </a:r>
          </a:p>
          <a:p>
            <a:pPr lvl="2"/>
            <a:r>
              <a:rPr lang="sv-SE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ör rådgivning och information om sökvägar</a:t>
            </a:r>
          </a:p>
          <a:p>
            <a:pPr lvl="2"/>
            <a:r>
              <a:rPr lang="sv-SE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ta på svenska och engelska</a:t>
            </a:r>
          </a:p>
          <a:p>
            <a:pPr lvl="1"/>
            <a:endParaRPr lang="sv-SE" sz="1600" b="1" kern="0" dirty="0" smtClean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r>
              <a:rPr lang="sv-SE" sz="1600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msida www.1177.se</a:t>
            </a:r>
          </a:p>
          <a:p>
            <a:pPr lvl="2"/>
            <a:r>
              <a:rPr lang="sv-SE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envårdsråd och information om svensk hälso- och sjukvård</a:t>
            </a:r>
          </a:p>
          <a:p>
            <a:pPr lvl="2"/>
            <a:r>
              <a:rPr lang="sv-SE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der “</a:t>
            </a:r>
            <a:r>
              <a:rPr lang="sv-SE" sz="1600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her</a:t>
            </a:r>
            <a:r>
              <a:rPr lang="sv-SE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sz="1600" kern="0" dirty="0" err="1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nguages</a:t>
            </a:r>
            <a:r>
              <a:rPr lang="sv-SE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” finns egenvårdsråd på flera språk</a:t>
            </a:r>
            <a:endParaRPr lang="sv-SE" sz="16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023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Slide" r:id="rId4" imgW="282" imgH="282" progId="TCLayout.ActiveDocument.1">
                  <p:embed/>
                </p:oleObj>
              </mc:Choice>
              <mc:Fallback>
                <p:oleObj name="think-cell Slid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427756"/>
            <a:ext cx="8485163" cy="307777"/>
          </a:xfrm>
        </p:spPr>
        <p:txBody>
          <a:bodyPr/>
          <a:lstStyle/>
          <a:p>
            <a:r>
              <a:rPr lang="sv-SE" dirty="0" smtClean="0"/>
              <a:t>Vårdcentralen är första platsen att vända sig till för hjälp</a:t>
            </a:r>
            <a:endParaRPr lang="sv-SE" dirty="0"/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älsoundersökning</a:t>
            </a:r>
            <a:endParaRPr lang="sv-SE" sz="1800" b="1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3491437" y="1029315"/>
            <a:ext cx="1918638" cy="4213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komst till Sverige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 för egenvårdsråd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årdcentral (primärvår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jukhus (slutenvår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Isosceles Triangle 21"/>
          <p:cNvSpPr/>
          <p:nvPr/>
        </p:nvSpPr>
        <p:spPr>
          <a:xfrm rot="5400000">
            <a:off x="711240" y="401162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Isosceles Triangle 22"/>
          <p:cNvSpPr/>
          <p:nvPr/>
        </p:nvSpPr>
        <p:spPr>
          <a:xfrm rot="16200000">
            <a:off x="7230503" y="401162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5485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270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ed Rectangle 11"/>
          <p:cNvSpPr/>
          <p:nvPr/>
        </p:nvSpPr>
        <p:spPr>
          <a:xfrm>
            <a:off x="532562" y="1175657"/>
            <a:ext cx="7827667" cy="486340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6126"/>
            <a:ext cx="8432710" cy="615553"/>
          </a:xfrm>
        </p:spPr>
        <p:txBody>
          <a:bodyPr/>
          <a:lstStyle/>
          <a:p>
            <a:r>
              <a:rPr lang="sv-SE" dirty="0" smtClean="0"/>
              <a:t>Din vårdcentral– </a:t>
            </a:r>
            <a:br>
              <a:rPr lang="sv-SE" dirty="0" smtClean="0"/>
            </a:br>
            <a:r>
              <a:rPr lang="sv-SE" dirty="0" smtClean="0"/>
              <a:t>förstahandsvalet vid behov av medicinsk hjälp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416021" y="1322535"/>
            <a:ext cx="5622385" cy="4647426"/>
          </a:xfrm>
        </p:spPr>
        <p:txBody>
          <a:bodyPr/>
          <a:lstStyle/>
          <a:p>
            <a:pPr lvl="1"/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Den lokala vårdcentralen är förstahandsvalet när du behöver hjälp av vårdpersonal</a:t>
            </a:r>
            <a:b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endParaRPr lang="sv-SE" sz="18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Om du inte förstår svenska har du rätt till en tolk</a:t>
            </a:r>
          </a:p>
          <a:p>
            <a:pPr lvl="1"/>
            <a:endParaRPr lang="sv-SE" sz="1800" dirty="0">
              <a:solidFill>
                <a:srgbClr val="FF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endParaRPr lang="sv-SE" sz="1800" dirty="0" smtClean="0">
              <a:solidFill>
                <a:srgbClr val="FF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Kontakta din vårdcentral för att boka en tid – vissa har även öppen mottagning med </a:t>
            </a:r>
            <a:r>
              <a:rPr lang="sv-SE" sz="18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drop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-in tider</a:t>
            </a:r>
            <a:endParaRPr lang="sv-SE" sz="18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Det är viktigt att komma i tid och inte vara sen</a:t>
            </a:r>
          </a:p>
          <a:p>
            <a:pPr marL="1588" lvl="1" indent="0">
              <a:buNone/>
            </a:pPr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Ta med ditt LMA-kort</a:t>
            </a:r>
          </a:p>
          <a:p>
            <a:pPr lvl="1"/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280274" y="3730964"/>
            <a:ext cx="608648" cy="5968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47917" y="1252192"/>
            <a:ext cx="873363" cy="9374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7852" y="2623633"/>
            <a:ext cx="1153492" cy="74299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92112" y="4555796"/>
            <a:ext cx="584973" cy="58147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8113" y="5262909"/>
            <a:ext cx="772971" cy="507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85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Information om din lokala vårdcentral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innehåll 2"/>
          <p:cNvSpPr txBox="1">
            <a:spLocks/>
          </p:cNvSpPr>
          <p:nvPr/>
        </p:nvSpPr>
        <p:spPr>
          <a:xfrm>
            <a:off x="3536725" y="2090406"/>
            <a:ext cx="5012169" cy="23752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sz="2000" b="1" kern="0" dirty="0" smtClean="0">
                <a:latin typeface="Franklin Gothic Book" panose="020B0503020102020204" pitchFamily="34" charset="0"/>
              </a:rPr>
              <a:t>Namn</a:t>
            </a:r>
          </a:p>
          <a:p>
            <a:r>
              <a:rPr lang="sv-SE" sz="2000" kern="0" dirty="0" smtClean="0">
                <a:latin typeface="Franklin Gothic Book" panose="020B0503020102020204" pitchFamily="34" charset="0"/>
              </a:rPr>
              <a:t>[Lägg till namn på Vårdcentralen]</a:t>
            </a:r>
          </a:p>
          <a:p>
            <a:endParaRPr lang="sv-SE" sz="2000" kern="0" dirty="0" smtClean="0">
              <a:latin typeface="Franklin Gothic Book" panose="020B0503020102020204" pitchFamily="34" charset="0"/>
            </a:endParaRPr>
          </a:p>
          <a:p>
            <a:r>
              <a:rPr lang="sv-SE" sz="2000" b="1" kern="0" dirty="0" smtClean="0">
                <a:latin typeface="Franklin Gothic Book" panose="020B0503020102020204" pitchFamily="34" charset="0"/>
              </a:rPr>
              <a:t>Adress</a:t>
            </a:r>
          </a:p>
          <a:p>
            <a:r>
              <a:rPr lang="sv-SE" sz="2000" kern="0" dirty="0" smtClean="0">
                <a:latin typeface="Franklin Gothic Book" panose="020B0503020102020204" pitchFamily="34" charset="0"/>
              </a:rPr>
              <a:t>[Lägg till adress här]</a:t>
            </a:r>
          </a:p>
          <a:p>
            <a:endParaRPr lang="sv-SE" sz="2000" kern="0" dirty="0" smtClean="0">
              <a:latin typeface="Franklin Gothic Book" panose="020B0503020102020204" pitchFamily="34" charset="0"/>
            </a:endParaRPr>
          </a:p>
          <a:p>
            <a:r>
              <a:rPr lang="sv-SE" sz="2000" b="1" kern="0" dirty="0" smtClean="0">
                <a:latin typeface="Franklin Gothic Book" panose="020B0503020102020204" pitchFamily="34" charset="0"/>
              </a:rPr>
              <a:t>Telefon</a:t>
            </a:r>
          </a:p>
          <a:p>
            <a:r>
              <a:rPr lang="sv-SE" sz="1800" kern="0" dirty="0" smtClean="0">
                <a:latin typeface="Franklin Gothic Book" panose="020B0503020102020204" pitchFamily="34" charset="0"/>
              </a:rPr>
              <a:t>[Lägg till telefonnummer]</a:t>
            </a:r>
          </a:p>
          <a:p>
            <a:r>
              <a:rPr lang="sv-SE" sz="1800" kern="0" dirty="0" smtClean="0">
                <a:latin typeface="Franklin Gothic Book" panose="020B0503020102020204" pitchFamily="34" charset="0"/>
              </a:rPr>
              <a:t>[Lägg till öppettider för telefon]</a:t>
            </a:r>
            <a:endParaRPr lang="sv-SE" sz="1800" u="sng" kern="0" dirty="0" smtClean="0">
              <a:latin typeface="Franklin Gothic Book" panose="020B0503020102020204" pitchFamily="34" charset="0"/>
            </a:endParaRPr>
          </a:p>
          <a:p>
            <a:pPr marL="457200" lvl="1" indent="0">
              <a:buFontTx/>
              <a:buNone/>
            </a:pPr>
            <a:endParaRPr lang="sv-SE" sz="1800" kern="0" dirty="0" smtClean="0">
              <a:latin typeface="Franklin Gothic Book" panose="020B050302010202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5665774" y="1910678"/>
            <a:ext cx="28045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 txBox="1">
            <a:spLocks/>
          </p:cNvSpPr>
          <p:nvPr/>
        </p:nvSpPr>
        <p:spPr>
          <a:xfrm>
            <a:off x="5759082" y="1672913"/>
            <a:ext cx="2789812" cy="28284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LÄGG IN LOKAL INFORMATION</a:t>
            </a:r>
            <a:endParaRPr lang="sv-SE" kern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/>
          <a:srcRect t="19569" b="4649"/>
          <a:stretch/>
        </p:blipFill>
        <p:spPr>
          <a:xfrm>
            <a:off x="293361" y="2377440"/>
            <a:ext cx="3243364" cy="2442581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>
            <a:off x="5665774" y="1672913"/>
            <a:ext cx="28045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625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Slide" r:id="rId4" imgW="282" imgH="282" progId="TCLayout.ActiveDocument.1">
                  <p:embed/>
                </p:oleObj>
              </mc:Choice>
              <mc:Fallback>
                <p:oleObj name="think-cell Slid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/>
          <a:lstStyle/>
          <a:p>
            <a:r>
              <a:rPr lang="sv-SE" dirty="0" smtClean="0"/>
              <a:t>Sjukhus – För akut vård och behov som kräver en subspecialiserad läkare</a:t>
            </a:r>
            <a:endParaRPr lang="sv-SE" dirty="0"/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älsoundersökning</a:t>
            </a:r>
            <a:endParaRPr lang="sv-SE" sz="1800" b="1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3491437" y="1029315"/>
            <a:ext cx="1918638" cy="4213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komst till Sverige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 för egenvårdsråd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årdcentral (primärvår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jukhus (slutenvår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Isosceles Triangle 21"/>
          <p:cNvSpPr/>
          <p:nvPr/>
        </p:nvSpPr>
        <p:spPr>
          <a:xfrm rot="5400000">
            <a:off x="711241" y="5007211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Isosceles Triangle 22"/>
          <p:cNvSpPr/>
          <p:nvPr/>
        </p:nvSpPr>
        <p:spPr>
          <a:xfrm rot="16200000">
            <a:off x="7230504" y="5007211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93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ålsättningar med dagens presentation</a:t>
            </a:r>
            <a:endParaRPr lang="sv-S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94730" y="1935861"/>
            <a:ext cx="5008790" cy="3924151"/>
          </a:xfrm>
        </p:spPr>
        <p:txBody>
          <a:bodyPr/>
          <a:lstStyle/>
          <a:p>
            <a:pPr lvl="1"/>
            <a:r>
              <a:rPr lang="sv-SE" dirty="0" smtClean="0"/>
              <a:t>Introducera hälso- och sjukvården i Sverige</a:t>
            </a:r>
          </a:p>
          <a:p>
            <a:pPr lvl="1"/>
            <a:endParaRPr lang="sv-SE" dirty="0"/>
          </a:p>
          <a:p>
            <a:pPr lvl="1"/>
            <a:r>
              <a:rPr lang="sv-SE" dirty="0" smtClean="0"/>
              <a:t>Informera om landstingens skyldigheter att erbjuda asylsökande vård</a:t>
            </a:r>
          </a:p>
          <a:p>
            <a:pPr lvl="1"/>
            <a:endParaRPr lang="sv-SE" dirty="0"/>
          </a:p>
          <a:p>
            <a:pPr lvl="1"/>
            <a:r>
              <a:rPr lang="sv-SE" dirty="0" smtClean="0"/>
              <a:t>Uppmuntra deltagande i Hälsoundersökning</a:t>
            </a:r>
          </a:p>
          <a:p>
            <a:pPr lvl="1"/>
            <a:endParaRPr lang="sv-SE" dirty="0"/>
          </a:p>
          <a:p>
            <a:pPr lvl="1"/>
            <a:endParaRPr lang="sv-SE" dirty="0" smtClean="0"/>
          </a:p>
          <a:p>
            <a:pPr lvl="1"/>
            <a:r>
              <a:rPr lang="sv-SE" i="1" dirty="0" smtClean="0"/>
              <a:t>Det </a:t>
            </a:r>
            <a:r>
              <a:rPr lang="sv-SE" i="1" u="sng" dirty="0" smtClean="0"/>
              <a:t>kommer inte </a:t>
            </a:r>
            <a:r>
              <a:rPr lang="sv-SE" i="1" dirty="0" smtClean="0"/>
              <a:t>ges möjlighet till personliga frågor eller medicinsk konsultation i samband med dagens presentation</a:t>
            </a:r>
            <a:endParaRPr lang="sv-SE" i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3874"/>
          <a:stretch/>
        </p:blipFill>
        <p:spPr>
          <a:xfrm>
            <a:off x="5303520" y="1935861"/>
            <a:ext cx="3163469" cy="2713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669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4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ounded Rectangle 15"/>
          <p:cNvSpPr/>
          <p:nvPr/>
        </p:nvSpPr>
        <p:spPr>
          <a:xfrm>
            <a:off x="502082" y="1159992"/>
            <a:ext cx="7827667" cy="486340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666708" cy="615553"/>
          </a:xfrm>
        </p:spPr>
        <p:txBody>
          <a:bodyPr/>
          <a:lstStyle/>
          <a:p>
            <a:r>
              <a:rPr lang="sv-SE" dirty="0"/>
              <a:t>Sjukhus – För akut vård och behov som kräver en subspecialiserad läka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361615" y="1244896"/>
            <a:ext cx="6081926" cy="4693593"/>
          </a:xfrm>
        </p:spPr>
        <p:txBody>
          <a:bodyPr/>
          <a:lstStyle/>
          <a:p>
            <a:pPr lvl="1"/>
            <a:r>
              <a:rPr lang="sv-SE" dirty="0" smtClean="0"/>
              <a:t>Om du är allvarligt sjuk eller i behov av akut vård – vänligen uppsök akutmottagningen vid närmsta sjukhus</a:t>
            </a:r>
            <a:br>
              <a:rPr lang="sv-SE" dirty="0" smtClean="0"/>
            </a:br>
            <a:endParaRPr lang="sv-SE" dirty="0" smtClean="0"/>
          </a:p>
          <a:p>
            <a:pPr lvl="1"/>
            <a:r>
              <a:rPr lang="sv-SE" dirty="0" smtClean="0"/>
              <a:t>Om dina behov inte bedöms som akuta kan du behöva vänta länge på att få hjälp, uppemot 8 timmar</a:t>
            </a:r>
          </a:p>
          <a:p>
            <a:pPr lvl="1"/>
            <a:endParaRPr lang="sv-SE" dirty="0" smtClean="0"/>
          </a:p>
          <a:p>
            <a:pPr lvl="1"/>
            <a:r>
              <a:rPr lang="sv-SE" dirty="0" smtClean="0"/>
              <a:t>Sjukhusbesök kostar dig många gånger mer än att besöka närmsta vårdcentral</a:t>
            </a:r>
            <a:br>
              <a:rPr lang="sv-SE" dirty="0" smtClean="0"/>
            </a:br>
            <a:endParaRPr lang="sv-SE" dirty="0" smtClean="0"/>
          </a:p>
          <a:p>
            <a:pPr lvl="1"/>
            <a:r>
              <a:rPr lang="sv-SE" dirty="0" smtClean="0"/>
              <a:t>Om det är livshotande – vänligen ring 112 för ambulans, polis eller brandförsvar</a:t>
            </a:r>
            <a:endParaRPr lang="sv-SE" b="1" dirty="0" smtClean="0"/>
          </a:p>
          <a:p>
            <a:pPr lvl="1"/>
            <a:r>
              <a:rPr lang="sv-SE" dirty="0" smtClean="0"/>
              <a:t>Observera att i Sverige är ambulanser avancerade mobila medicinska enheter</a:t>
            </a:r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7182" y="1410651"/>
            <a:ext cx="1007788" cy="10056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2219" y="2601445"/>
            <a:ext cx="857715" cy="87491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6951" y="4793227"/>
            <a:ext cx="862983" cy="7490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23403" y="3633100"/>
            <a:ext cx="755347" cy="735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75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/>
          <a:lstStyle/>
          <a:p>
            <a:r>
              <a:rPr lang="sv-SE" dirty="0" smtClean="0"/>
              <a:t>Kostnaderna för vård är reglerade för vuxna och gratis för barn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sv-SE" dirty="0" smtClean="0"/>
              <a:t>Kostnader för vård på olika nivåer</a:t>
            </a:r>
            <a:endParaRPr lang="sv-S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v-SE" dirty="0" smtClean="0"/>
              <a:t>	*	Kostnader för ambulans och akutbesök kan variera beroende på landsting</a:t>
            </a:r>
            <a:endParaRPr lang="sv-SE" dirty="0"/>
          </a:p>
        </p:txBody>
      </p:sp>
      <p:sp>
        <p:nvSpPr>
          <p:cNvPr id="11" name="Platshållare för innehåll 2"/>
          <p:cNvSpPr txBox="1">
            <a:spLocks/>
          </p:cNvSpPr>
          <p:nvPr/>
        </p:nvSpPr>
        <p:spPr>
          <a:xfrm>
            <a:off x="3389705" y="1623681"/>
            <a:ext cx="5954360" cy="23214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2000" dirty="0" smtClean="0">
                <a:latin typeface="Franklin Gothic Book" panose="020B0503020102020204" pitchFamily="34" charset="0"/>
              </a:rPr>
              <a:t>Barn (under 18 år):	 	gratis</a:t>
            </a:r>
          </a:p>
          <a:p>
            <a:r>
              <a:rPr lang="sv-SE" sz="2000" dirty="0" smtClean="0">
                <a:latin typeface="Franklin Gothic Book" panose="020B0503020102020204" pitchFamily="34" charset="0"/>
              </a:rPr>
              <a:t>Vårdcentralsbesök för vuxna: 	doktor	50 kr</a:t>
            </a:r>
          </a:p>
          <a:p>
            <a:pPr marL="0" indent="0">
              <a:buNone/>
            </a:pPr>
            <a:r>
              <a:rPr lang="sv-SE" sz="2000" dirty="0" smtClean="0">
                <a:latin typeface="Franklin Gothic Book" panose="020B0503020102020204" pitchFamily="34" charset="0"/>
              </a:rPr>
              <a:t>				</a:t>
            </a:r>
            <a:r>
              <a:rPr lang="sv-SE" sz="2000" dirty="0" err="1" smtClean="0">
                <a:latin typeface="Franklin Gothic Book" panose="020B0503020102020204" pitchFamily="34" charset="0"/>
              </a:rPr>
              <a:t>ssk</a:t>
            </a:r>
            <a:r>
              <a:rPr lang="sv-SE" sz="2000" dirty="0" smtClean="0">
                <a:latin typeface="Franklin Gothic Book" panose="020B0503020102020204" pitchFamily="34" charset="0"/>
              </a:rPr>
              <a:t>	25 kr</a:t>
            </a:r>
          </a:p>
          <a:p>
            <a:endParaRPr lang="sv-SE" sz="2000" dirty="0" smtClean="0">
              <a:latin typeface="Franklin Gothic Book" panose="020B0503020102020204" pitchFamily="34" charset="0"/>
            </a:endParaRPr>
          </a:p>
          <a:p>
            <a:r>
              <a:rPr lang="sv-SE" sz="2000" dirty="0" smtClean="0">
                <a:latin typeface="Franklin Gothic Book" panose="020B0503020102020204" pitchFamily="34" charset="0"/>
              </a:rPr>
              <a:t>Sjukhus/ambulans*		besök	200 kr</a:t>
            </a:r>
            <a:endParaRPr lang="sv-SE" sz="2000" dirty="0">
              <a:latin typeface="Franklin Gothic Book" panose="020B0503020102020204" pitchFamily="34" charset="0"/>
            </a:endParaRPr>
          </a:p>
          <a:p>
            <a:endParaRPr lang="sv-SE" sz="800" dirty="0" smtClean="0">
              <a:latin typeface="Franklin Gothic Book" panose="020B0503020102020204" pitchFamily="34" charset="0"/>
            </a:endParaRPr>
          </a:p>
          <a:p>
            <a:endParaRPr lang="sv-SE" sz="2000" dirty="0" smtClean="0">
              <a:latin typeface="Franklin Gothic Book" panose="020B0503020102020204" pitchFamily="34" charset="0"/>
            </a:endParaRPr>
          </a:p>
          <a:p>
            <a:r>
              <a:rPr lang="sv-SE" sz="2000" dirty="0" smtClean="0">
                <a:latin typeface="Franklin Gothic Book" panose="020B0503020102020204" pitchFamily="34" charset="0"/>
              </a:rPr>
              <a:t>Mödravård			gratis</a:t>
            </a:r>
          </a:p>
          <a:p>
            <a:r>
              <a:rPr lang="sv-SE" sz="2000" dirty="0" smtClean="0">
                <a:latin typeface="Franklin Gothic Book" panose="020B0503020102020204" pitchFamily="34" charset="0"/>
              </a:rPr>
              <a:t>Abort, rådgivning		gratis</a:t>
            </a:r>
          </a:p>
          <a:p>
            <a:r>
              <a:rPr lang="sv-SE" sz="2000" dirty="0" smtClean="0">
                <a:latin typeface="Franklin Gothic Book" panose="020B0503020102020204" pitchFamily="34" charset="0"/>
              </a:rPr>
              <a:t>Förlossning			gratis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sv-SE" sz="1800" dirty="0" smtClean="0">
              <a:latin typeface="Franklin Gothic Book" panose="020B05030201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3694" y="2211186"/>
            <a:ext cx="2310939" cy="2250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380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genda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385816"/>
          </a:xfrm>
        </p:spPr>
        <p:txBody>
          <a:bodyPr/>
          <a:lstStyle/>
          <a:p>
            <a:pPr marL="458788" lvl="1" indent="-457200">
              <a:buFont typeface="+mj-lt"/>
              <a:buAutoNum type="arabicPeriod"/>
            </a:pPr>
            <a:r>
              <a:rPr lang="sv-SE" dirty="0"/>
              <a:t>Generella principer i svensk hälso- och sjukvård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Landstingets skyldigheter att erbjuda nyanlända vård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Hälsoundersökning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Egenvård och rådgivning via 1177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Svensk hälso- och sjukvård</a:t>
            </a:r>
          </a:p>
          <a:p>
            <a:pPr lvl="2"/>
            <a:r>
              <a:rPr lang="sv-SE" dirty="0"/>
              <a:t>Vårdcentraler</a:t>
            </a:r>
          </a:p>
          <a:p>
            <a:pPr lvl="2"/>
            <a:r>
              <a:rPr lang="sv-SE" dirty="0"/>
              <a:t>Sjukhus</a:t>
            </a:r>
          </a:p>
          <a:p>
            <a:pPr lvl="2"/>
            <a:r>
              <a:rPr lang="sv-SE" b="1" dirty="0"/>
              <a:t>Övriga tjänster (t.ex. tandvård)</a:t>
            </a:r>
          </a:p>
        </p:txBody>
      </p:sp>
    </p:spTree>
    <p:extLst>
      <p:ext uri="{BB962C8B-B14F-4D97-AF65-F5344CB8AC3E}">
        <p14:creationId xmlns:p14="http://schemas.microsoft.com/office/powerpoint/2010/main" val="3558771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41270" cy="615553"/>
          </a:xfrm>
        </p:spPr>
        <p:txBody>
          <a:bodyPr/>
          <a:lstStyle/>
          <a:p>
            <a:r>
              <a:rPr lang="sv-SE" dirty="0" smtClean="0"/>
              <a:t>Övriga vårdtjänster som tandvård och apotek finns tillgängliga för asylsökande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40090" y="1240457"/>
            <a:ext cx="6095910" cy="1384995"/>
          </a:xfrm>
        </p:spPr>
        <p:txBody>
          <a:bodyPr/>
          <a:lstStyle/>
          <a:p>
            <a:r>
              <a:rPr lang="sv-SE" b="1" dirty="0" smtClean="0"/>
              <a:t>Tandvård</a:t>
            </a:r>
          </a:p>
          <a:p>
            <a:pPr lvl="1"/>
            <a:r>
              <a:rPr lang="sv-SE" dirty="0" smtClean="0"/>
              <a:t>Gratis för barn och unga under 18 år</a:t>
            </a:r>
          </a:p>
          <a:p>
            <a:pPr lvl="1"/>
            <a:r>
              <a:rPr lang="sv-SE" dirty="0" smtClean="0"/>
              <a:t>Vuxna har rätt till vård som inte kan anstå, t.ex. Trauma och tandlossning</a:t>
            </a:r>
            <a:endParaRPr lang="sv-SE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2540090" y="2642276"/>
            <a:ext cx="6095910" cy="246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b="1" kern="0" dirty="0" smtClean="0">
                <a:latin typeface="Franklin Gothic Book" panose="020B0503020102020204" pitchFamily="34" charset="0"/>
              </a:rPr>
              <a:t>Apotek</a:t>
            </a:r>
          </a:p>
          <a:p>
            <a:pPr lvl="1"/>
            <a:r>
              <a:rPr lang="sv-SE" kern="0" dirty="0" smtClean="0">
                <a:latin typeface="Franklin Gothic Book" panose="020B0503020102020204" pitchFamily="34" charset="0"/>
              </a:rPr>
              <a:t>Erbjuder receptfria läkemedel och andra varor</a:t>
            </a:r>
          </a:p>
          <a:p>
            <a:pPr lvl="1"/>
            <a:r>
              <a:rPr lang="sv-SE" kern="0" dirty="0" smtClean="0">
                <a:latin typeface="Franklin Gothic Book" panose="020B0503020102020204" pitchFamily="34" charset="0"/>
              </a:rPr>
              <a:t>Läkemedel som förskrivits av läkare kan hämtas ut:</a:t>
            </a:r>
          </a:p>
          <a:p>
            <a:pPr lvl="1"/>
            <a:r>
              <a:rPr lang="sv-SE" kern="0" dirty="0" smtClean="0">
                <a:latin typeface="Franklin Gothic Book" panose="020B0503020102020204" pitchFamily="34" charset="0"/>
              </a:rPr>
              <a:t>Kostnad</a:t>
            </a:r>
          </a:p>
          <a:p>
            <a:pPr lvl="2"/>
            <a:r>
              <a:rPr lang="sv-SE" kern="0" dirty="0" smtClean="0">
                <a:latin typeface="Franklin Gothic Book" panose="020B0503020102020204" pitchFamily="34" charset="0"/>
              </a:rPr>
              <a:t>Läkemedel på recept		50 kr</a:t>
            </a:r>
          </a:p>
          <a:p>
            <a:pPr lvl="2"/>
            <a:r>
              <a:rPr lang="sv-SE" kern="0" dirty="0" smtClean="0">
                <a:latin typeface="Franklin Gothic Book" panose="020B0503020102020204" pitchFamily="34" charset="0"/>
              </a:rPr>
              <a:t>Receptfria läkemedel	 	Fullpris </a:t>
            </a:r>
          </a:p>
          <a:p>
            <a:pPr lvl="3"/>
            <a:r>
              <a:rPr lang="sv-SE" kern="0" dirty="0" smtClean="0">
                <a:latin typeface="Franklin Gothic Book" panose="020B0503020102020204" pitchFamily="34" charset="0"/>
              </a:rPr>
              <a:t>T.ex. nässpray, huvudvärkstabletter</a:t>
            </a:r>
            <a:endParaRPr lang="sv-SE" kern="0" dirty="0">
              <a:latin typeface="Franklin Gothic Book" panose="020B0503020102020204" pitchFamily="34" charset="0"/>
            </a:endParaRPr>
          </a:p>
        </p:txBody>
      </p:sp>
      <p:pic>
        <p:nvPicPr>
          <p:cNvPr id="10" name="Picture 4" descr="http://c91prao.wikispaces.com/file/view/Kronans_Droghandel_logo.jpg/183096783/Kronans_Droghandel_logo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1395" y="4260763"/>
            <a:ext cx="807445" cy="342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http://testbb.kf.se/Global/Bromma%20Blocks/2011%20butiksbilder/logga_608x357pxl.jpg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65" b="29512"/>
          <a:stretch/>
        </p:blipFill>
        <p:spPr bwMode="auto">
          <a:xfrm>
            <a:off x="785419" y="4290945"/>
            <a:ext cx="703801" cy="203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Bildobjekt 2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220" y="3637190"/>
            <a:ext cx="1011797" cy="708258"/>
          </a:xfrm>
          <a:prstGeom prst="rect">
            <a:avLst/>
          </a:prstGeom>
        </p:spPr>
      </p:pic>
      <p:pic>
        <p:nvPicPr>
          <p:cNvPr id="15" name="Bildobjekt 1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082"/>
          <a:stretch/>
        </p:blipFill>
        <p:spPr>
          <a:xfrm>
            <a:off x="676503" y="3849835"/>
            <a:ext cx="773645" cy="37133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5994" y="5296543"/>
            <a:ext cx="1258229" cy="552807"/>
          </a:xfrm>
          <a:prstGeom prst="rect">
            <a:avLst/>
          </a:prstGeom>
        </p:spPr>
      </p:pic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2540090" y="5121313"/>
            <a:ext cx="6095910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b="1" kern="0" dirty="0" smtClean="0">
                <a:latin typeface="Franklin Gothic Book" panose="020B0503020102020204" pitchFamily="34" charset="0"/>
              </a:rPr>
              <a:t>Glasögon</a:t>
            </a:r>
          </a:p>
          <a:p>
            <a:pPr lvl="1"/>
            <a:r>
              <a:rPr lang="sv-SE" kern="0" dirty="0" smtClean="0">
                <a:latin typeface="Franklin Gothic Book" panose="020B0503020102020204" pitchFamily="34" charset="0"/>
              </a:rPr>
              <a:t>Vänligen kontakta Migrationsverket för remiss till optiker</a:t>
            </a:r>
            <a:endParaRPr lang="sv-SE" kern="0" dirty="0">
              <a:latin typeface="Franklin Gothic Book" panose="020B05030201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02450" y="1075174"/>
            <a:ext cx="8233550" cy="5084466"/>
          </a:xfrm>
          <a:prstGeom prst="rect">
            <a:avLst/>
          </a:prstGeom>
          <a:noFill/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2136" y="1372871"/>
            <a:ext cx="1094715" cy="102245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2136" y="2658800"/>
            <a:ext cx="1094715" cy="978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16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744554" y="2767029"/>
            <a:ext cx="5172084" cy="677108"/>
          </a:xfrm>
        </p:spPr>
        <p:txBody>
          <a:bodyPr/>
          <a:lstStyle/>
          <a:p>
            <a:r>
              <a:rPr lang="sv-SE" sz="4400" dirty="0" smtClean="0">
                <a:solidFill>
                  <a:schemeClr val="tx1"/>
                </a:solidFill>
              </a:rPr>
              <a:t>Frågor</a:t>
            </a:r>
            <a:endParaRPr lang="sv-SE" sz="44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12389" y="1575195"/>
            <a:ext cx="2457450" cy="347662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</p:pic>
      <p:pic>
        <p:nvPicPr>
          <p:cNvPr id="8" name="Picture 7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0" y="6305550"/>
            <a:ext cx="2859882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1945482" y="6305550"/>
            <a:ext cx="7029450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5018882" y="6391275"/>
            <a:ext cx="48006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sv-SE" sz="1100" dirty="0">
                <a:solidFill>
                  <a:srgbClr val="FFFFFF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Finns även tillgänglig digitalt på </a:t>
            </a:r>
            <a:r>
              <a:rPr lang="sv-SE" sz="1100" b="1" strike="noStrike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www.uppdragpsykiskhalsa.se</a:t>
            </a:r>
            <a:r>
              <a:rPr lang="sv-SE" sz="1100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9912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Film</a:t>
            </a:r>
            <a:endParaRPr lang="sv-SE" dirty="0"/>
          </a:p>
        </p:txBody>
      </p:sp>
      <p:pic>
        <p:nvPicPr>
          <p:cNvPr id="10" name="Picture 8" descr="http://www.clipartbest.com/cliparts/jix/o55/jixo55R6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5134" y="2267866"/>
            <a:ext cx="3645400" cy="2503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 flipH="1">
            <a:off x="2374900" y="2032000"/>
            <a:ext cx="4267200" cy="2880303"/>
          </a:xfrm>
          <a:prstGeom prst="rect">
            <a:avLst/>
          </a:prstGeom>
          <a:solidFill>
            <a:schemeClr val="bg1">
              <a:alpha val="72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07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genda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/>
          <a:lstStyle/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Generella principer i svensk hälso- och sjukvård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Landstingets skyldigheter att erbjuda nyanlända vård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Hälsoundersökning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Egenvård och rådgivning via 1177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 smtClean="0"/>
          </a:p>
          <a:p>
            <a:pPr marL="458788" lvl="1" indent="-457200">
              <a:buFont typeface="+mj-lt"/>
              <a:buAutoNum type="arabicPeriod"/>
            </a:pPr>
            <a:r>
              <a:rPr lang="sv-SE" dirty="0" smtClean="0"/>
              <a:t>Svensk hälso- och sjukvård</a:t>
            </a:r>
          </a:p>
          <a:p>
            <a:pPr lvl="2"/>
            <a:r>
              <a:rPr lang="sv-SE" dirty="0" smtClean="0"/>
              <a:t>Vårdcentraler</a:t>
            </a:r>
          </a:p>
          <a:p>
            <a:pPr lvl="2"/>
            <a:r>
              <a:rPr lang="sv-SE" dirty="0" smtClean="0"/>
              <a:t>Sjukhus</a:t>
            </a:r>
          </a:p>
          <a:p>
            <a:pPr lvl="2"/>
            <a:r>
              <a:rPr lang="sv-SE" dirty="0" smtClean="0"/>
              <a:t>Övriga tjänster (t.ex. tandvård)</a:t>
            </a:r>
          </a:p>
          <a:p>
            <a:pPr lvl="2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60912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genda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/>
          <a:lstStyle/>
          <a:p>
            <a:pPr marL="458788" lvl="1" indent="-457200">
              <a:buFont typeface="+mj-lt"/>
              <a:buAutoNum type="arabicPeriod"/>
            </a:pPr>
            <a:r>
              <a:rPr lang="sv-SE" b="1" dirty="0"/>
              <a:t>Generella principer i svensk hälso- och sjukvård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Landstingets skyldigheter att erbjuda nyanlända vård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Hälsoundersökning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Egenvård och rådgivning via 1177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Svensk hälso- och sjukvård</a:t>
            </a:r>
          </a:p>
          <a:p>
            <a:pPr lvl="2"/>
            <a:r>
              <a:rPr lang="sv-SE" dirty="0"/>
              <a:t>Vårdcentraler</a:t>
            </a:r>
          </a:p>
          <a:p>
            <a:pPr lvl="2"/>
            <a:r>
              <a:rPr lang="sv-SE" dirty="0"/>
              <a:t>Sjukhus</a:t>
            </a:r>
          </a:p>
          <a:p>
            <a:pPr lvl="2"/>
            <a:r>
              <a:rPr lang="sv-SE" dirty="0"/>
              <a:t>Övriga tjänster (t.ex. tandvård)</a:t>
            </a:r>
          </a:p>
          <a:p>
            <a:pPr lvl="2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04617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/>
          <a:lstStyle/>
          <a:p>
            <a:r>
              <a:rPr lang="sv-SE" dirty="0" smtClean="0"/>
              <a:t>Det finns ett antal saker som särskiljer svensk hälso- och sjukvård, bland annat personalens roller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v-SE" dirty="0"/>
              <a:t>	*	</a:t>
            </a:r>
            <a:r>
              <a:rPr lang="sv-SE" dirty="0" smtClean="0"/>
              <a:t>Såvida det inte är livshotande – ring då till 112</a:t>
            </a:r>
            <a:endParaRPr lang="sv-SE" dirty="0"/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293535" y="1638189"/>
            <a:ext cx="5251054" cy="4431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800" kern="0" dirty="0" err="1" smtClean="0">
                <a:latin typeface="Franklin Gothic Book" panose="020B0503020102020204" pitchFamily="34" charset="0"/>
              </a:rPr>
              <a:t>Sjuksköterskor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har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en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central roll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och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har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en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högre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akademisk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examen</a:t>
            </a:r>
            <a:endParaRPr lang="en-US" sz="1800" kern="0" dirty="0" smtClean="0">
              <a:latin typeface="Franklin Gothic Book" panose="020B0503020102020204" pitchFamily="34" charset="0"/>
            </a:endParaRPr>
          </a:p>
          <a:p>
            <a:pPr lv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800" kern="0" dirty="0" err="1" smtClean="0">
                <a:latin typeface="Franklin Gothic Book" panose="020B0503020102020204" pitchFamily="34" charset="0"/>
              </a:rPr>
              <a:t>Att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hålla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tiden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är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viktigt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–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annars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behöver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andra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patienter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få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gå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före</a:t>
            </a:r>
            <a:endParaRPr lang="en-US" sz="1800" kern="0" dirty="0" smtClean="0">
              <a:latin typeface="Franklin Gothic Book" panose="020B0503020102020204" pitchFamily="34" charset="0"/>
            </a:endParaRPr>
          </a:p>
          <a:p>
            <a:pPr lv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800" kern="0" dirty="0" err="1" smtClean="0">
                <a:latin typeface="Franklin Gothic Book" panose="020B0503020102020204" pitchFamily="34" charset="0"/>
              </a:rPr>
              <a:t>Besök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först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och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främst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din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vårdcentral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innan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du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åker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till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ett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sjukhus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*</a:t>
            </a:r>
          </a:p>
          <a:p>
            <a:pPr lv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800" kern="0" dirty="0" err="1" smtClean="0">
                <a:latin typeface="Franklin Gothic Book" panose="020B0503020102020204" pitchFamily="34" charset="0"/>
              </a:rPr>
              <a:t>Sjuksköterskor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och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läkare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har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tystnadsplikt</a:t>
            </a:r>
            <a:endParaRPr lang="en-US" sz="1800" kern="0" dirty="0" smtClean="0">
              <a:latin typeface="Franklin Gothic Book" panose="020B0503020102020204" pitchFamily="34" charset="0"/>
            </a:endParaRPr>
          </a:p>
          <a:p>
            <a:pPr lv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800" kern="0" dirty="0" smtClean="0">
                <a:latin typeface="Franklin Gothic Book" panose="020B0503020102020204" pitchFamily="34" charset="0"/>
              </a:rPr>
              <a:t>Om du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inte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förstår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svenska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har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du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rätt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till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en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tolk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(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som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också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har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tystnadsplikt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)</a:t>
            </a:r>
          </a:p>
          <a:p>
            <a:pPr lv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sv-SE" sz="1800" kern="0" dirty="0" smtClean="0">
                <a:latin typeface="Franklin Gothic Book" panose="020B0503020102020204" pitchFamily="34" charset="0"/>
              </a:rPr>
              <a:t>Tillgången till antibiotika är begränsad för att stoppa resistenta bakterier (MRSA)</a:t>
            </a:r>
            <a:endParaRPr lang="sv-SE" sz="1800" kern="0" dirty="0">
              <a:latin typeface="Franklin Gothic Book" panose="020B05030201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1510" y="2130785"/>
            <a:ext cx="2231063" cy="31697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50975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genda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385816"/>
          </a:xfrm>
        </p:spPr>
        <p:txBody>
          <a:bodyPr/>
          <a:lstStyle/>
          <a:p>
            <a:pPr marL="458788" lvl="1" indent="-457200">
              <a:buFont typeface="+mj-lt"/>
              <a:buAutoNum type="arabicPeriod"/>
            </a:pPr>
            <a:r>
              <a:rPr lang="sv-SE" dirty="0"/>
              <a:t>Generella principer i svensk hälso- och sjukvård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b="1" dirty="0"/>
              <a:t>Landstingets skyldigheter att erbjuda nyanlända vård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Hälsoundersökning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Egenvård och rådgivning via 1177</a:t>
            </a:r>
          </a:p>
          <a:p>
            <a:pPr marL="458788" lvl="1" indent="-457200">
              <a:buFont typeface="+mj-lt"/>
              <a:buAutoNum type="arabicPeriod"/>
            </a:pPr>
            <a:endParaRPr lang="sv-SE" dirty="0"/>
          </a:p>
          <a:p>
            <a:pPr marL="458788" lvl="1" indent="-457200">
              <a:buFont typeface="+mj-lt"/>
              <a:buAutoNum type="arabicPeriod"/>
            </a:pPr>
            <a:r>
              <a:rPr lang="sv-SE" dirty="0"/>
              <a:t>Svensk hälso- och sjukvård</a:t>
            </a:r>
          </a:p>
          <a:p>
            <a:pPr lvl="2"/>
            <a:r>
              <a:rPr lang="sv-SE" dirty="0"/>
              <a:t>Vårdcentraler</a:t>
            </a:r>
          </a:p>
          <a:p>
            <a:pPr lvl="2"/>
            <a:r>
              <a:rPr lang="sv-SE" dirty="0"/>
              <a:t>Sjukhus</a:t>
            </a:r>
          </a:p>
          <a:p>
            <a:pPr lvl="2"/>
            <a:r>
              <a:rPr lang="sv-SE" dirty="0"/>
              <a:t>Övriga tjänster (t.ex. tandvård)</a:t>
            </a:r>
          </a:p>
        </p:txBody>
      </p:sp>
    </p:spTree>
    <p:extLst>
      <p:ext uri="{BB962C8B-B14F-4D97-AF65-F5344CB8AC3E}">
        <p14:creationId xmlns:p14="http://schemas.microsoft.com/office/powerpoint/2010/main" val="327043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2562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"/>
          <p:cNvSpPr txBox="1">
            <a:spLocks/>
          </p:cNvSpPr>
          <p:nvPr/>
        </p:nvSpPr>
        <p:spPr>
          <a:xfrm>
            <a:off x="5156959" y="2659520"/>
            <a:ext cx="3246060" cy="33635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kuta läkemedel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5156959" y="2975761"/>
            <a:ext cx="3246060" cy="377448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kuta hjälpmedel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5156959" y="3374198"/>
            <a:ext cx="2854960" cy="33635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jukresor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5156959" y="3731537"/>
            <a:ext cx="2854960" cy="33635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i mödravård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2"/>
          <p:cNvSpPr txBox="1">
            <a:spLocks/>
          </p:cNvSpPr>
          <p:nvPr/>
        </p:nvSpPr>
        <p:spPr>
          <a:xfrm>
            <a:off x="5156958" y="4088876"/>
            <a:ext cx="3246061" cy="33635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bort och preventivmedel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91961" y="2615021"/>
            <a:ext cx="373063" cy="33342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8"/>
          <a:srcRect l="6011" r="4478"/>
          <a:stretch/>
        </p:blipFill>
        <p:spPr>
          <a:xfrm>
            <a:off x="4691961" y="2975761"/>
            <a:ext cx="373063" cy="349267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9"/>
          <a:srcRect l="5113" r="4017"/>
          <a:stretch/>
        </p:blipFill>
        <p:spPr>
          <a:xfrm>
            <a:off x="4691961" y="3362292"/>
            <a:ext cx="373381" cy="355403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10"/>
          <a:srcRect l="3655" t="3835" r="3777" b="5863"/>
          <a:stretch/>
        </p:blipFill>
        <p:spPr>
          <a:xfrm>
            <a:off x="4691961" y="3746171"/>
            <a:ext cx="373428" cy="35719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91961" y="4149188"/>
            <a:ext cx="373063" cy="32572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/>
          <a:lstStyle/>
          <a:p>
            <a:r>
              <a:rPr lang="sv-SE" dirty="0" smtClean="0"/>
              <a:t>Landstingen är skyldiga att erbjuda vuxna asylsökande vård som inte kan anstå</a:t>
            </a:r>
            <a:endParaRPr lang="sv-S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err="1" smtClean="0"/>
              <a:t>Landstingens</a:t>
            </a:r>
            <a:r>
              <a:rPr lang="en-US" dirty="0" smtClean="0"/>
              <a:t> </a:t>
            </a:r>
            <a:r>
              <a:rPr lang="en-US" dirty="0" err="1" smtClean="0"/>
              <a:t>skyldigheter</a:t>
            </a:r>
            <a:r>
              <a:rPr lang="en-US" dirty="0" smtClean="0"/>
              <a:t> </a:t>
            </a:r>
            <a:r>
              <a:rPr lang="en-US" dirty="0" err="1" smtClean="0"/>
              <a:t>att</a:t>
            </a:r>
            <a:r>
              <a:rPr lang="en-US" dirty="0" smtClean="0"/>
              <a:t> </a:t>
            </a:r>
            <a:r>
              <a:rPr lang="en-US" dirty="0" err="1" smtClean="0"/>
              <a:t>erbjuda</a:t>
            </a:r>
            <a:r>
              <a:rPr lang="en-US" dirty="0" smtClean="0"/>
              <a:t> </a:t>
            </a:r>
            <a:r>
              <a:rPr lang="en-US" dirty="0" err="1" smtClean="0"/>
              <a:t>vård</a:t>
            </a:r>
            <a:r>
              <a:rPr lang="en-US" dirty="0" smtClean="0"/>
              <a:t> </a:t>
            </a:r>
            <a:r>
              <a:rPr lang="en-US" dirty="0" err="1" smtClean="0"/>
              <a:t>för</a:t>
            </a:r>
            <a:r>
              <a:rPr lang="en-US" dirty="0" smtClean="0"/>
              <a:t> </a:t>
            </a:r>
            <a:r>
              <a:rPr lang="en-US" dirty="0" err="1" smtClean="0"/>
              <a:t>vuxna</a:t>
            </a:r>
            <a:r>
              <a:rPr lang="en-US" dirty="0" smtClean="0"/>
              <a:t> </a:t>
            </a:r>
            <a:r>
              <a:rPr lang="en-US" dirty="0" err="1" smtClean="0"/>
              <a:t>personer</a:t>
            </a:r>
            <a:r>
              <a:rPr lang="en-US" dirty="0" smtClean="0"/>
              <a:t> </a:t>
            </a:r>
            <a:r>
              <a:rPr lang="en-US" dirty="0" err="1" smtClean="0"/>
              <a:t>över</a:t>
            </a:r>
            <a:r>
              <a:rPr lang="en-US" dirty="0" smtClean="0"/>
              <a:t> 18 </a:t>
            </a:r>
            <a:r>
              <a:rPr lang="en-US" dirty="0" err="1" smtClean="0"/>
              <a:t>år</a:t>
            </a:r>
            <a:endParaRPr lang="en-US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Rounded Rectangle 5"/>
          <p:cNvSpPr/>
          <p:nvPr/>
        </p:nvSpPr>
        <p:spPr>
          <a:xfrm>
            <a:off x="3869716" y="1710929"/>
            <a:ext cx="4799621" cy="3532339"/>
          </a:xfrm>
          <a:prstGeom prst="roundRect">
            <a:avLst>
              <a:gd name="adj" fmla="val 9661"/>
            </a:avLst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20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1202106" y="4257051"/>
            <a:ext cx="1041252" cy="25899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uxna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Picture 19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60" y="2318419"/>
            <a:ext cx="1804451" cy="1804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 Placeholder 2"/>
          <p:cNvSpPr txBox="1">
            <a:spLocks/>
          </p:cNvSpPr>
          <p:nvPr/>
        </p:nvSpPr>
        <p:spPr>
          <a:xfrm>
            <a:off x="4379810" y="1626092"/>
            <a:ext cx="3645106" cy="50182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49837" y="1847378"/>
            <a:ext cx="497758" cy="539094"/>
          </a:xfrm>
          <a:prstGeom prst="rect">
            <a:avLst/>
          </a:prstGeom>
        </p:spPr>
      </p:pic>
      <p:sp>
        <p:nvSpPr>
          <p:cNvPr id="11" name="Text Placeholder 2"/>
          <p:cNvSpPr txBox="1">
            <a:spLocks/>
          </p:cNvSpPr>
          <p:nvPr/>
        </p:nvSpPr>
        <p:spPr>
          <a:xfrm>
            <a:off x="4720078" y="1847378"/>
            <a:ext cx="3814931" cy="48609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ndsting är skyldiga att erbjuda vuxna asylsökande vård som inte kan anstå 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nligt vårdpersonalens bedömning) 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klusive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4720079" y="4519748"/>
            <a:ext cx="3682940" cy="48609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stnadsplikt – sjuksköterskor och läkare har tystnadsplikt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79488" y="1934864"/>
            <a:ext cx="1672608" cy="2223192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049837" y="4446605"/>
            <a:ext cx="544270" cy="508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401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/>
          <a:lstStyle/>
          <a:p>
            <a:r>
              <a:rPr lang="sv-SE" dirty="0" smtClean="0"/>
              <a:t>Landstingen måste erbjuda barn och unga under 18 år vård på samma villkor som alla andra barn och unga</a:t>
            </a:r>
            <a:endParaRPr lang="sv-S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276999"/>
          </a:xfrm>
        </p:spPr>
        <p:txBody>
          <a:bodyPr/>
          <a:lstStyle/>
          <a:p>
            <a:r>
              <a:rPr lang="en-US" dirty="0" err="1"/>
              <a:t>Landstingens</a:t>
            </a:r>
            <a:r>
              <a:rPr lang="en-US" dirty="0"/>
              <a:t> </a:t>
            </a:r>
            <a:r>
              <a:rPr lang="en-US" dirty="0" err="1"/>
              <a:t>skyldighete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erbjuda</a:t>
            </a:r>
            <a:r>
              <a:rPr lang="en-US" dirty="0"/>
              <a:t> </a:t>
            </a:r>
            <a:r>
              <a:rPr lang="en-US" dirty="0" err="1"/>
              <a:t>vård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smtClean="0"/>
              <a:t>barn </a:t>
            </a:r>
            <a:r>
              <a:rPr lang="en-US" dirty="0" err="1" smtClean="0"/>
              <a:t>och</a:t>
            </a:r>
            <a:r>
              <a:rPr lang="en-US" dirty="0" smtClean="0"/>
              <a:t> </a:t>
            </a:r>
            <a:r>
              <a:rPr lang="en-US" dirty="0" err="1" smtClean="0"/>
              <a:t>unga</a:t>
            </a:r>
            <a:r>
              <a:rPr lang="en-US" dirty="0" smtClean="0"/>
              <a:t> under </a:t>
            </a:r>
            <a:r>
              <a:rPr lang="en-US" dirty="0"/>
              <a:t>18 </a:t>
            </a:r>
            <a:r>
              <a:rPr lang="en-US" dirty="0" err="1"/>
              <a:t>år</a:t>
            </a:r>
            <a:endParaRPr lang="en-US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Rounded Rectangle 5"/>
          <p:cNvSpPr/>
          <p:nvPr/>
        </p:nvSpPr>
        <p:spPr>
          <a:xfrm>
            <a:off x="3869717" y="2160718"/>
            <a:ext cx="4533302" cy="2355329"/>
          </a:xfrm>
          <a:prstGeom prst="roundRect">
            <a:avLst>
              <a:gd name="adj" fmla="val 9661"/>
            </a:avLst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20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4379810" y="1278880"/>
            <a:ext cx="3645106" cy="50182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sv-SE" sz="1400" b="1" kern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1202106" y="4257051"/>
            <a:ext cx="1041252" cy="25899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n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4817355" y="2406085"/>
            <a:ext cx="3361780" cy="141984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0"/>
              </a:spcAft>
            </a:pP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n </a:t>
            </a:r>
            <a:r>
              <a:rPr lang="sv-SE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h unga </a:t>
            </a:r>
            <a:r>
              <a:rPr lang="sv-SE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der 18 år som söker asyl har rätt 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ll hälso- </a:t>
            </a:r>
            <a:r>
              <a:rPr lang="sv-SE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h sjukvård, samt tandvård på samma villkor</a:t>
            </a:r>
          </a:p>
          <a:p>
            <a:pPr>
              <a:spcAft>
                <a:spcPts val="0"/>
              </a:spcAft>
            </a:pPr>
            <a:r>
              <a:rPr lang="sv-SE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m alla andra barn och </a:t>
            </a:r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ga</a:t>
            </a:r>
          </a:p>
          <a:p>
            <a:pPr>
              <a:spcAft>
                <a:spcPts val="0"/>
              </a:spcAft>
            </a:pPr>
            <a:endParaRPr lang="en-US" kern="0" dirty="0" smtClean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sv-S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m man är under 18 år behöver man inte betala för vården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1164" y="1983152"/>
            <a:ext cx="1922852" cy="22738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1196" y="2441572"/>
            <a:ext cx="663127" cy="6046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1196" y="3575272"/>
            <a:ext cx="683108" cy="610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122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L_mall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KL_mall" id="{F51252A8-ABD8-4BBC-99BF-B21C4FD4F9EB}" vid="{00100721-A95F-4E19-982A-99E23CF2C48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L_mall</Template>
  <TotalTime>0</TotalTime>
  <Words>966</Words>
  <Application>Microsoft Office PowerPoint</Application>
  <PresentationFormat>Anpassad</PresentationFormat>
  <Paragraphs>228</Paragraphs>
  <Slides>24</Slides>
  <Notes>4</Notes>
  <HiddenSlides>0</HiddenSlides>
  <MMClips>0</MMClips>
  <ScaleCrop>false</ScaleCrop>
  <HeadingPairs>
    <vt:vector size="8" baseType="variant">
      <vt:variant>
        <vt:lpstr>Använt teckensnitt</vt:lpstr>
      </vt:variant>
      <vt:variant>
        <vt:i4>8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4</vt:i4>
      </vt:variant>
    </vt:vector>
  </HeadingPairs>
  <TitlesOfParts>
    <vt:vector size="34" baseType="lpstr">
      <vt:lpstr>Arial</vt:lpstr>
      <vt:lpstr>Calibri</vt:lpstr>
      <vt:lpstr>Cambria</vt:lpstr>
      <vt:lpstr>Franklin Gothic Book</vt:lpstr>
      <vt:lpstr>Georgia</vt:lpstr>
      <vt:lpstr>Myriad Pro</vt:lpstr>
      <vt:lpstr>Times New Roman</vt:lpstr>
      <vt:lpstr>Verdana</vt:lpstr>
      <vt:lpstr>SKL_mall</vt:lpstr>
      <vt:lpstr>think-cell Slide</vt:lpstr>
      <vt:lpstr>Hälso- och sjukvård  för nyanlända </vt:lpstr>
      <vt:lpstr>Målsättningar med dagens presentation</vt:lpstr>
      <vt:lpstr>Film</vt:lpstr>
      <vt:lpstr>Agenda</vt:lpstr>
      <vt:lpstr>Agenda</vt:lpstr>
      <vt:lpstr>Det finns ett antal saker som särskiljer svensk hälso- och sjukvård, bland annat personalens roller</vt:lpstr>
      <vt:lpstr>Agenda</vt:lpstr>
      <vt:lpstr>Landstingen är skyldiga att erbjuda vuxna asylsökande vård som inte kan anstå</vt:lpstr>
      <vt:lpstr>Landstingen måste erbjuda barn och unga under 18 år vård på samma villkor som alla andra barn och unga</vt:lpstr>
      <vt:lpstr>Agenda</vt:lpstr>
      <vt:lpstr>Hälsoundersökningen är vägen in i den svenska hälso- och sjukvården</vt:lpstr>
      <vt:lpstr>Kallelse skickas ut med brev när det är tid för hälsoundersökning – viktigt att komma i tid</vt:lpstr>
      <vt:lpstr>Hälsoundersökningen är gratid och påverkar inte ditt asylärende – endast till för en bättre hälsa</vt:lpstr>
      <vt:lpstr>Kontakta gärna 1177 för egenvårdsråd eller råd om hur du ska söka hjälp</vt:lpstr>
      <vt:lpstr>Egenvårdsråd och vårdinformation finns tillgängligt 24/7 genom 1177 på nätet eller via telefon</vt:lpstr>
      <vt:lpstr>Vårdcentralen är första platsen att vända sig till för hjälp</vt:lpstr>
      <vt:lpstr>Din vårdcentral–  förstahandsvalet vid behov av medicinsk hjälp</vt:lpstr>
      <vt:lpstr>Information om din lokala vårdcentral</vt:lpstr>
      <vt:lpstr>Sjukhus – För akut vård och behov som kräver en subspecialiserad läkare</vt:lpstr>
      <vt:lpstr>Sjukhus – För akut vård och behov som kräver en subspecialiserad läkare</vt:lpstr>
      <vt:lpstr>Kostnaderna för vård är reglerade för vuxna och gratis för barn</vt:lpstr>
      <vt:lpstr>Agenda</vt:lpstr>
      <vt:lpstr>Övriga vårdtjänster som tandvård och apotek finns tillgängliga för asylsökande</vt:lpstr>
      <vt:lpstr>Frågor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1-29T13:51:32Z</dcterms:created>
  <dcterms:modified xsi:type="dcterms:W3CDTF">2016-08-17T14:02:47Z</dcterms:modified>
</cp:coreProperties>
</file>